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CED0A6-6A61-4944-A811-C0C29425B143}" v="1488" dt="2024-10-25T12:26:35.3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 varScale="1">
        <p:scale>
          <a:sx n="72" d="100"/>
          <a:sy n="72" d="100"/>
        </p:scale>
        <p:origin x="420" y="52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8275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microsoft.com/office/2015/10/relationships/revisionInfo" Target="revisionInfo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484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28FC9A2-B8D2-1F2D-84EC-485F41C7CB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8015" y="6294551"/>
            <a:ext cx="1040690" cy="32445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C7EA99F7-B79B-6EAF-F612-BCA242B225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8015" y="6294551"/>
            <a:ext cx="1040690" cy="3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734BABC-4E57-1366-94AD-4EBD8A2A1F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8015" y="6294551"/>
            <a:ext cx="1040690" cy="32445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D040A92-62F3-0DE6-D272-ED6C062DE1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8015" y="6294551"/>
            <a:ext cx="1040690" cy="32445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0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06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EF102456-545D-1B5B-B845-48101AFBDD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22241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AFDF4D-2583-444B-5840-78A985F1AF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0984" y="536406"/>
            <a:ext cx="1739654" cy="542363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37789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483B1A4-CCFF-9200-9C2F-887C7F53F080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38015" y="6294551"/>
            <a:ext cx="1040690" cy="3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5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8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1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5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8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2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1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20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4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9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3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5.bin"/><Relationship Id="rId27" Type="http://schemas.openxmlformats.org/officeDocument/2006/relationships/image" Target="../media/image22.jpeg"/><Relationship Id="rId30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21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709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13916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5C388C-A979-393B-0DE7-0CFB0A08B9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3567895-B74C-1BE8-CCD6-D29C3A4A8DDD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632CEB36-9BC1-9211-3570-E8A35B57D271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E04C0BC0-80FE-E0AF-BCE6-602DA7C587C7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7698A9BE-618B-044B-684E-89F3D36B796D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A55FCD92-D36C-CB93-296C-981B14679538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BEA8678C-5E12-402E-DCD5-8C8FC4E42152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E0CC57B7-4B67-5A50-FA5A-DD0C338E4399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4D1613ED-BED4-39D4-717C-1263099348EB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3E681A06-A4B6-CC2C-6AC8-22E5435494DC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38D2060D-8C36-7384-01D5-BB81E747B120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53B01473-0919-FEBB-8398-C6C09AAE17C6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80A81076-5FEE-B8B7-258A-55E5D5C6CD67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7BBEB384-5F56-61F0-6A8A-CE6789254828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F975FA51-5704-36C8-25BC-05DD3A8FF5F2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B46FE976-3DA7-7E66-2105-63A13DF3EA39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B5E12FEB-8726-A739-1F4A-AC5E501615B1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D3228DB7-37AE-5F62-C226-5624AE57F910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F9BBAC93-34D5-B760-EA4D-8BDFCB283D28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6AA36B3D-621E-2ADC-6AFB-DA625B5F5D62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9310C6BB-CA8A-877F-8B62-06517D28D11B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9EE98C08-97D4-5E19-A548-8B4987DEBB3A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9F1346A9-2190-D64B-29A8-EE8550901226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CE791D6A-4E1C-DC83-573D-C4ED52E25166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BAA3F31D-C121-F45E-85E0-782234E331CC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47775928-C5C1-1815-589D-6D7600D860C3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9EF587E4-C6BD-87C8-EBE2-80667A327987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0D96792E-2CF4-136D-C356-5DA930CA2A8D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DDBFA5F7-4AED-2DA4-466E-69DA886B41C4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42C968F2-967C-9204-4B02-BE8FD2B94EDA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73EF45BD-81BA-B90F-4FCE-13B43B818FE2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AE7FEA69-C7F2-3DD7-AC47-A8C38B2E1E08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8A2408FF-D268-B174-E7E5-CDCEB7D773AF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677B3214-CC98-5424-50FD-9369F1D3EA21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B44B32EA-96E5-9032-6D8B-F74B57CF5783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ADA3BF47-C69C-7B24-A5F5-DFA590230B8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986C2957-A32D-B2D3-8C4D-795FD73484B3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1BC2EEEC-066E-E323-2CBF-100B5ECE11AA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62D34294-698C-9C86-E161-C46CBB54763D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11AD645A-DF00-6BCF-6832-A42DFD36EF6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9D38791F-73BC-7FD9-8B1C-5719FB527016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5B06B390-83F5-800B-19DD-5BF4797D4E0B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CDF58027-551D-E975-4393-F357FC37FD6C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7F34435F-BE44-578B-24CB-265F290D39C0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D4DF38EB-4742-DF77-8310-FCC9EDB4FD12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2B28F20A-82B8-2776-6C8E-9B0568ADFEEF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21A7041A-7DDF-5E43-1322-5FC51DD03BF7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83F77165-6518-EDC0-28D2-41737499DF2C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87A08E2B-0A41-B939-2E36-14340A595EC4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44F04169-374C-8197-63BE-0527ADC18B2F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62C18F4E-1D0D-99F6-7620-126D42C6E827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3CB13A8A-510D-E9F1-A638-D24304475164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25E213D5-6153-5E68-8DC7-CD7A9333210D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5A6812E7-B96D-8624-5C00-DBA15D11BAEF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417A39B4-5286-6D7F-110E-8E34C601D806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AE614941-328B-44BC-38FF-BA7F251411AA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BEC24151-136C-D19E-AAD3-EF11091CAA9F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F6A3AD88-A9C8-B3FF-D2A6-E064D2AA4F2D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420EAD81-CA63-E943-0004-168805FB6BA7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E059F6F5-2D82-53D9-134B-952D83C2CF8C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735B1F48-662D-E9F8-7615-B1A768766A8A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74E86B81-6693-FFB3-E14B-1E7714704791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8E22EBB7-1608-83E8-765A-397508EEFDB0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4C3F7781-E4D2-F05D-0FF3-7EBDE2D33A01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BDFA2FF7-FCB0-B871-F84C-83B67052C76B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2E892C75-7C68-7B62-1F18-1D41804D5955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EC922D5B-EF27-62AE-10BA-74B5C6046938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E4CE0222-BA46-0C95-4AED-2FB6EE3B668F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3CDC83D7-FF84-5F97-0D7B-A332A7A8BA96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3DCA2B11-C906-9E5D-6603-BADEFF82D0C0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54D4C691-8B0D-B74E-8F5D-00B223CCD7C5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816B497D-A08F-D4DD-73F8-A252AACFA580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883FCC89-4C5B-502F-C9D5-F89B2F75B619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78935208-44B7-CAE8-831E-FEA8BD48E496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8C2D7789-4C3C-9938-8E9F-6FC66EC21B75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5D281AE5-4756-7B44-67DD-59D807A846D2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92D7D8B6-41F2-6619-894C-14666BEBCCBD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AB0E6092-1E52-34FD-8EFE-7A2774DC088D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D1F7AC10-E8EB-9583-9C91-D5B111699357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AD42E401-E908-65CE-5C96-76B6EFB7CCCA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0ED204B9-EC81-CF7C-48AE-23678302C4B0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87D8E9D0-232D-9DFE-B830-3F9472AB4FED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6FA055D4-93EA-68D4-9FE7-DB36979A06C2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32CA42A9-5CE3-94FA-3F0D-62227DE463FD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09AD57E9-F889-B97C-5BC7-74FF9756BE06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D5EF1304-183D-71B7-654E-365E9BA340ED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28941C7A-4893-F9A6-D91E-C20E58C399D9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8D086EDF-2314-9AFF-6558-5EA33DD47C80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3545C38A-B457-E4CC-9946-D40D05BAC6BF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F6DE626F-46B9-2CCF-3C24-70BC4DC0CFAB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DA21030A-CDE4-F6B7-6864-1C26D8C10B4A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0FF4485C-56F0-0B0A-3B75-391894EEF6E9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09C0689B-ADDE-D906-88C8-6B8F379EBA36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6E06AF26-ABAD-94F6-8A80-E68396125E86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ED365FB4-308D-A88E-2044-CA3BEBA5758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BBBF8224-8EE3-4DA1-56A7-FB3CC6388F62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8358A34B-148B-ACFF-77E2-0F77EE2FEE4F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E44EDF16-A4EB-3619-2407-502099C6BDCF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6634615E-F7B0-6693-9055-49D737A28BED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2DE04784-F653-1FD8-7920-F285B7B12816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D5BF13C5-94C2-FF72-BDBD-15A5F0FA6903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67E0AC29-E280-BBF2-C836-667B06C67D10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ABE4834D-427B-E19C-109D-D7C2F33ADFBB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0803F3A5-6FA0-EE74-DB01-A4C1A9871470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F846DB54-16A2-132E-1A10-FE5C7ACA2FDD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DAA2BCB5-8AD3-A6CB-A277-2759FF7E1499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C71B7765-6EDE-753E-40C3-C4295FE31781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18B247AD-8A07-9A96-3ACE-992E15DEE2C0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E02C3142-CCA8-6AA8-DEB9-F8C6A6F3C315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C4767EA4-22BA-5115-DB51-B6984F793A1E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847B64AE-4D75-016B-6A30-90AC64A4418A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1300A024-9410-8ECF-F35E-0285D7EF5DE6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7A42C67B-5BD8-3E70-A9FE-DF3FDD2948FD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E4C43411-6873-81A6-C369-9CDDF0872531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CC4B3160-04A6-D7E1-DB67-F6B473B8E392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DC966E0C-7749-122D-FB31-F6BB946EBEE0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BD4F1B62-4B1E-9342-3853-45FD42541B6D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64CB9255-F8E2-381D-A81F-DAFF3166F517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990D5A63-2962-2A6D-5DD2-C3F1E026BF28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E19EA9EC-52B1-5256-5986-8789BD6BAFE7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5B8FC327-2C68-B9A8-E994-1D33F6588AC3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72FCEAA8-4A58-48C5-1A89-4E7E754318D3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DE886722-8939-D445-C19F-40F76C00C6F9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17B89D14-693C-B3A9-39EE-19C730A22D11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87BA0D86-D567-AFE9-A97C-4A4EA1626DEB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69FD0E8B-80E1-8F22-A495-318E9A5910F7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F6D061CA-F122-B606-9317-7FC003B04807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4C8051C7-7F50-A9C3-810D-5B60798CA317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82A842A8-507E-2311-C78D-5A5709FF72AD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D3F296E6-E85A-4B58-20E9-0D1AF0075DCF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2D50A744-B0B2-092A-69F1-0752C74A4B83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40C1DB69-291E-1BEA-5DD8-2797CD7CE6E4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779316B9-5CAA-EC0F-70A4-F02FF84CAF97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E38EAF9F-1C91-7ADF-195B-15305322E6C5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660390F3-4642-8AF5-6C52-485418967838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088C605B-713F-58FA-A3C8-1A80A0516D69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8367B58D-5F37-5EFE-868E-3B48001E84B1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337DA7E5-4FE7-23BA-A40B-1B9128D1F8C1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E5B266EC-6B31-3BF7-5A8A-A9FFB8EBC126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D7EB8B0F-356D-B20C-D141-F39A5629BBA2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D3FBC860-15F7-D162-FDCC-37FA4F944435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61FE72BB-EA55-E207-EA5D-DAFD1310B078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7E5235D1-73C6-777A-D0F1-829AEC77E4F4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2C3A9E54-23B3-0CD3-15BA-EF69B80C2114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90E34E5D-BA11-C817-038F-6CB7FCE56F82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AEE1BD80-1BC5-FF92-8FB5-BDE01B1A53CD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DB79D2B4-D98C-928B-21F2-3CB8EDC7BF54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79D6CD08-CA73-6ECC-43D5-7D386E50EFCC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9BA68713-71BD-F451-C183-1FA63C1B3C99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774AAB25-EA47-F70C-2C3C-C9CDD9180BE5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BE834463-90C5-45FD-4BC3-2F292C1C6619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E3391EB4-4FE0-80C7-DBEB-695FC21847CD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DB7AAD76-EFC5-BD80-2647-A2006BD8DFA5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F9E32099-7837-F30F-5EEE-27B44C1BB8D5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3FA6253D-3C82-58DA-9DCE-7413A5C9624B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A254990C-53A4-BC8A-8BC0-7EFC9DB9A6AC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F899C28E-23E2-A099-FFD2-007F69791DFF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63DAE2F0-1988-34D5-08C4-7C6E5CB0B13A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6062B0AC-17E7-9580-9A5F-ED010CB89E5E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D34CB1B6-1CD5-4A77-44D6-3FB3783E216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418AE5E2-11D4-E092-366D-18816CCD2383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69E2F27E-4489-C4CC-A90B-C83616E990C8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BA7E50AD-E3B3-4416-7565-4F76762AB077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85D1F2E0-22F3-CDB3-31D2-0F2832C5826E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3D7CA4E7-8B7E-DFB1-78A6-5B86D96DAEF0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435284BE-3E38-6ABB-4CB5-D2B68B6A5221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0D3C867B-6258-A365-DE1B-33F3C6274DC2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544E4DD2-F66D-CAC2-E9DA-114B92718C6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33A90313-7F0B-0066-D610-93DDF98728A2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F6BD5F06-6FA1-6CBC-8D5D-89667E4388F4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BB1ACAEF-6A75-AD54-8A1B-3F97C1AE9F9C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7DCF2D41-A617-5AC9-F9F2-32D39E65D6D9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7343933D-5C7F-1E37-A137-5EAF1C0D1C54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DEE44939-5274-8A37-9FB4-A67BD822C427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F483E21E-F9F8-36C4-F86A-5B5ED6C4DCE6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60E23605-C1B3-1A1D-EDD3-7DC80C38938E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76686478-9DFB-D6DF-F7F4-4A58F761542E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550261A0-6628-261A-D920-9A887678C87D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BBC08974-E67A-C91A-D998-735FD6E8FBC6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73645FFA-B691-EAC0-FFDF-32F90CB68CEB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23D6B702-FEE1-6521-CCB6-AFEF0DC1918F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5CD5CD2D-5D42-5E58-FF5B-D79F9F24933D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8C193443-7834-352B-96D6-79BD2FBAA8E1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320978AE-FFEF-B468-2654-BAD1532BCDBF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0C3521E6-1A5C-4305-4220-D29C235DB888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557EB60D-968F-1C5A-9541-5B370DBE45D2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B90C707B-3E0B-7E66-22F1-736FC826371C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41317EC7-7181-4F91-9FEB-E5E3C0CF1EE5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CE673925-C947-19AE-2E8A-091D1E761D72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10F9AFB3-F1ED-91B7-CA00-F39F4D5F6A15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79657EF9-BF1A-FE6F-A54B-BA0130739A28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34D24784-4E6C-6408-FDB6-83CCDF5BB8D0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2D4B78FA-7DAC-142F-BAD7-1330A880E581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810BF55E-6436-0A04-5EE3-C02A0B84FAE6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9D45A1F4-CA6C-B88A-C7DA-BFEB8F9BF563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A23CA8E8-EA8E-BE03-22DC-9D3805AA5B1A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AB0CBDDF-7D80-6E34-F1FB-5C4D8B4ECBC4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10753483-6A0B-A6D8-8430-1885A938C0A7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8AC092B4-3440-8CC7-61D2-85BA286B4AE4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A557B369-2D3F-4D40-BE4C-B9C87E81128D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5B971697-B95C-C483-E3FB-9CC1B1F60DA0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14F80F54-F9A0-3FF3-5A61-28784642CC73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3C13E12E-D13B-30E0-15C0-87D66B0604E4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7CB6B831-0CAA-4A0B-084A-4C0A2698EA6B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CC6EEBE3-7D91-9488-D8A5-9278EE220356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9D329D7C-98B0-4733-5C67-FCC20872DF0E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9600537F-683C-73A9-9245-8D9EFA5882BE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14BFB661-0F6C-3B03-990C-DF0641F5EB12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4AE33076-F56C-A64F-2AC6-1503FE4588FA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C30C6656-0130-45F6-CC75-00C1A4126104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B65FA6F0-3D84-F517-B1B5-1456515D848F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9D79D1E8-666A-EAFB-79E8-4304EE00DFBD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BF8D465A-12CA-25A6-F927-E1B56FB5D581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583D4CD0-99B0-784C-DD5D-EF570555D1B9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C470002C-DA01-3394-F25F-16E6F2238356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EA218877-BC0C-6D68-70F4-A1E5A881B7AE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D27E4E30-7A8A-6AF8-2145-D6EA29607228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A31EA842-0361-1D70-106C-E548CE31C0A7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273B7F77-BAA7-8690-FE9F-8B1D0EBBE374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5E44D370-4ADE-0C6B-9705-CFC30F13C4D1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B1BBC492-0F28-FE9A-C2BA-4A6D6D798D49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7A3B0F52-C1DB-4C11-F1C3-607A1A137E0F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1BB77B23-672B-7902-35D6-34B5DC977EAE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ABC9AE3E-7D0A-9306-69B0-B96D4BAD2F6F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3E917821-6FA9-6950-E341-84F73037FD63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ED1A59D0-8600-39F8-C4F3-19E65457344B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AF0CC438-FECA-72A3-9D1D-3596698E5B60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6246CE75-C829-9553-C91D-7074B6938145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D94DB318-46AB-582E-364A-CB58A2EFD756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4FE4CAAF-9FEC-6E7B-B5BD-8424CB21EE8D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62A2466C-460F-B8F1-C41E-3E60539CFEF5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B60890B8-4E8B-9461-7FFE-2D895169DE70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9663EBB3-DA13-64B9-2865-19D85793E0CE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F710885F-A3F1-7BB3-6F54-C9D0C901B0BE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6DCDC64A-F25F-9D9A-8B12-E4CD526BFBAA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434AFB48-B9AB-3E04-00E2-BF06D1EEA1E2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4C39B3D2-7206-1C52-8ED4-D89D08098740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CCEA3584-D72A-4252-9C96-DF2C70201B37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7AFB1600-DC90-AC87-0E5B-E96FD7B0FD66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01F68470-097E-793C-F0D2-3A8E8F0D2DA2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5DAEB8C8-4451-F3F4-8AD4-94DACC7A3402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6846E709-71C3-79DB-8831-FBA3BFA78923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549D42A4-B8BE-5CA7-C6D3-165EA7F169BF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6AC4E4D5-0363-6023-3447-0F22BA7BC978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00946764-1B1D-5F6E-9B6D-31FA7BE31636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12F5E40D-729C-3987-C97A-07D8FE789EC4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BC2D2698-80B4-90C9-A162-53464BA3043F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1E16E899-2357-4495-CD83-24FBF8FAD81B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0DA3CA5C-549A-739E-A8AC-44E5CCF16444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99E4C370-8E55-90CF-9A8A-DBD234A2F461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D008909E-98DC-C812-CAD1-170A059AF784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44DF19CB-164B-7745-D877-46C1DAED312A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7D1E1090-E1E7-54BD-6C8C-FF4BEE53CFC4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CC147201-320A-29C8-07E0-12AB4A1B265E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232F9E4E-01DD-DB6A-B69D-907188F6C540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68A15C43-FFA5-FF6A-50BE-80FE418AA1D7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38797DAC-A115-727F-8DAB-7FC73D451889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77C85F14-F824-25F9-F17C-37BE7BD84E39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F989DD4B-82F5-732F-D6AD-2575CCC03E7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3805653E-5D6A-DBF1-CC53-6B144F2A07CF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14C66775-5770-3BB3-0B29-24C54DFBF08B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66D0D719-C511-992B-8DB4-CDD84884D0DA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D1617756-4FA2-2020-AF37-133BE8B4B99A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000F2AF6-464F-6BBD-6661-5C20EB7B7E39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CC422F92-1095-627B-1743-ECE3B229ED04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7F6EBBFE-C9C0-C64D-C10D-C8B7084469ED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7CF32A15-4900-01AA-8C9D-CB673FF022F2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614A5A33-DD9A-2A9F-B290-44E7DB870FA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2782699D-30D4-D6EE-A671-53C523CA92A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268518C6-DBA4-6DD1-2994-55F3A62FC097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C74A8046-A230-4C75-6285-D08112EF8D7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6CD26996-EFED-147A-5D66-4504452E1EF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86D121A8-F52C-09E3-22E5-6BE41595FE7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3B02018E-4442-9162-D47C-E59C01F8A5F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BB810FC2-E1F0-5929-DC00-AA217CAEAAB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65D07342-B57C-08C8-4C67-11D6ED6F072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5B3F092C-2140-3016-9C2F-68681CF292A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C05C6B08-C2E7-6F75-8BAE-D97CDA6C24FA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5D605A73-6A64-464D-180F-F02D8CA3F4C7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1256C9EE-94D2-9C62-2EC2-30230E13394D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68443C1B-C22E-9D32-A66D-F29F43BD3BF6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7EA1FD5B-E6D7-5E66-6ABC-D47C93CD6844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C22BBC77-637C-416C-F484-F5D6AB939C20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BB6AA10C-D781-2F65-46C8-60E7C6421B07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CB3CABFC-5806-7BD4-1207-A4D50B16C538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CCFCC3FB-CA78-0B66-737F-9C476B7A9171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FADED9A0-90CA-7974-603E-7747C4F5158E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0894C312-BF97-0F3B-8E57-63D0CFFD6D1B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57BCEDA2-25A7-1729-1366-2794A4725EB3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C7874070-E3F9-8127-D94D-BDACC8F5C96C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E27EE9C3-0A40-4319-45BD-E7CE06BFF77F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82FDC535-ABA9-34C0-0779-BA2C2E44C433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CE2A5D15-0A1E-1D3C-5D57-CA5152C334BF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7230C26F-3B6E-7B03-3D86-4BB4CCC61AD9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85E30346-47B7-032C-0842-4360CB578397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73291CC3-3C07-90FB-B534-4A49BEEE91C6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302974D1-25E6-084C-1843-D2D5F9CFC4CC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EB67BACB-953A-324C-6022-F8C39D9A7A0E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3A226471-5757-DB4F-4C80-71A1E21B088E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6F276FF8-0AFD-8BEB-A8F4-AE6D23C9C647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EC3481B5-E6A2-5F6D-989B-1DBF59FF4369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48DF0B8A-027D-C351-583E-7008A56AF304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4F09D6C7-D14D-5DA3-C681-4D4743EE91CC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649A6F43-937B-908C-BF9B-EC38F05C6107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46F32919-9892-EFFF-CA8C-575BB97E5744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6D3BFCAB-BA0C-33BB-43EA-08B7915AF7D9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56A1EE69-CCD6-10A1-2DD7-699EB4B681E7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774F7EBF-B7FF-4AA7-F6AA-5EAAD8E18B11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9FCE6C7B-9798-CE24-546E-062E0E91DFF4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37E616BD-B04A-6F29-E867-8AAA3B6185E7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0D8CEFBF-8EE6-36E5-0870-AC6DEF8CCF05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3E9ECB8D-44A8-8EB6-A8ED-887B6BFB8D19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5985B547-C669-81EA-8D51-EC21E05E6EB0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F9C5CEE3-85D0-26FB-309B-BD0FB014CE45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1C3559D5-C32A-47D7-1238-13A4F5685857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D897EF3C-0B0F-12B6-B6AF-176AB3F17B0F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60CCC4D8-E69F-1D59-63B2-C10B23AEAAD0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ED957882-948D-D6FC-14C3-55ACEDAECF05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00587316-317F-B42F-76D9-34D0850D86D8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9B3A2CED-9E1A-04F0-99E1-4E6DB675AC71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06AD112D-56CA-5203-A7AE-25C3D8D563DC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509B7815-0C0A-78B7-1DAF-E44D3661AB4C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576383AC-4D05-4D54-A2AA-3D8DBC2360EC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3D083546-33B9-3D74-00B2-95A9C8EBE2B7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CC3387CE-BD81-45EA-A3F4-A43782B15008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D17015AE-2A19-A226-55D4-A39B4F31211E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9DE400F9-2ABA-5906-6D56-07522DAB51F1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D1D92E3B-AC9B-013D-365C-D8A2CD347D84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138FFB8F-DA11-737D-05D7-FAB0901665EC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8032120A-74F8-82F2-2DD5-21D0D7FA2440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2200692D-96CF-A9B7-4D4F-A6560CCBE637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6A9CAAC1-F4EE-E912-F35C-8BE564348231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39CD8B3F-19FF-770E-B544-24AA45A66687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93444B88-7579-020B-A83F-7556ACCAEDBC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FCD8CD74-BDF6-E1FB-E6BF-AEE64466BD79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500AC0A3-DF39-BDCF-6101-B69AA62EEFCD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2989CDB5-3508-51EC-9823-32C3F11C799D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75D8FEC0-6310-B6BF-3AC7-E34BD23BDCBA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9665B0D2-05A4-13AD-05B0-2377ED5B1191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48A5EA11-E752-6C85-F31D-A8C93E15B7D9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2788FE18-BBC1-B946-1A39-D42E023877A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EEC96434-F5DC-26CD-B395-584F5A76ABC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7301A822-0ACB-1916-BD7E-CEA54DD94B8F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65CFDCA7-A6CE-E93C-91CA-F6A10DC959B0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A99E8ACB-CA87-5A46-7415-39605C19502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0212AA58-D8FF-CDBD-8626-E356DE1A4861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781E6565-7876-672E-56A6-DA047916B3A1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C0D62E7B-0CBD-D5AA-0DBA-E666665B7975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FEBB46EF-10A9-53F1-54F3-981115694F7B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27EB8CBE-0A45-B585-F65C-DA2BD63DBB6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41A303E5-C695-657B-3A95-73E777EE11B4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7A592E18-EB07-3D34-F2EB-C47302D10248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D0449F8E-9BAA-CEE6-38D6-2FC9BC1F629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172CD5B8-E0F5-56EE-3BAE-FEFF3EE5CC7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4E35F917-C2CF-A84C-6DE7-6A473DD0AC8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173F8805-BA6F-D48A-02B0-2C3910C5CFEA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B7616E3E-C2FC-2D8C-362A-F1AA123B7A0E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03DBFCFC-9D2B-684C-D351-7FE33AE3402E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67C7F0CB-F89F-5DCF-FD93-14EAAE87580E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0B91CBFB-00A7-0464-5467-A84DBFB1A32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661F283C-9956-C4B5-4668-3F623732BC5C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D52E41D0-CD7E-222D-1ED1-F96BAFD5DE9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CDB2F9A4-2659-BDF5-0130-BE87A307619E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75B1C0FD-E9BE-C6D2-0CD4-84350C41E4E1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4AB71F6E-9243-6ADA-9899-6576DA6BB8F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E87A09ED-4851-2E3A-2CF3-BB0BC9B5EC73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AE974E7B-22AB-7947-8CA7-3C3797D2CEDA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CE306E34-808B-1BA0-D617-B0E14630302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FF7F895B-AB58-E105-4313-D26F8CC8B283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95BE7391-FCD8-2272-AEB8-C4E4E9D7834F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8E18B882-5532-9DCF-A260-14E5600F446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D0C94A4B-54C9-5E92-5DEC-F2D89890F0B3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0BC97BA0-9965-A193-CD9B-18E32A6F3A14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297166AB-AF1F-4393-D818-F0A256DFA14E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CCF0F5BC-C385-FB73-0B58-B5E27F7091BB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4F7274E3-04F6-D8CA-783A-D9569D3E07D0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9523EB8E-833A-CD5E-5491-6242B6A651A4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46C48AF8-3359-67C3-3142-DE14A2179011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107C7260-D0BB-E6D8-8AB5-801FFFA86870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5A535D12-52B1-1EF7-F5E0-BE916AB6CE3E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FE534509-E9E3-72BD-EEA6-1C5C917EF4A8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6B462365-423E-B7A7-E9BC-2088B1972F2C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46B6C832-F1DC-03ED-BECC-2C90F940FF9E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1EE9D42B-52C0-F2B2-80E4-DCC20EDE6878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508BA327-159D-697A-52F8-C267CC899E7B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1AD446A7-F8ED-728B-B410-3E4802CC9C69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960C596C-A8A5-30CF-A9E9-F9F6375EF9DB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C42080C2-8FD1-E98F-9546-AACFA67321B6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22A33BB4-5551-8856-5C4C-118C166067C4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1E53CDD3-139B-FEF6-39C6-F6FC4F8239B7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C3959DD8-61B9-1DC7-E878-6643691AAF79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9DEA931D-A4D5-09B3-9D65-65497CABEE7B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32FDA4C3-4001-4DFB-B180-A6320D33A329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4398A3DC-C31B-1ABB-57F1-08EE26462E87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13DC2886-4163-6E06-70F7-0F872150C8D9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6599B3EE-64F2-AF6D-68E0-0775E5863048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698EBBEC-C122-AA1E-F351-D35BB26098CD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129B0687-A180-DD5A-BC78-154CE6E3F21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AF8DDEA1-11C6-DB0F-4CAE-41A247DCEE5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94CBC5F7-9A33-E790-6B0B-E8FE3221989A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4E7502A6-0C1F-C688-9DEF-10F1D7B09B73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2F6A01B0-4BBB-27A2-09DA-7E6D2B7F25FD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9CA31472-D1E6-4214-D747-64EB3B616D8C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CF39F29E-B792-AFEB-EDD2-60546214FC1C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6C660FDF-54B6-0572-EE92-949300E2FF31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ECD6FEAA-EACA-7D3F-56B4-5E2585D3B443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482D4370-8AB2-0E68-132C-20B66B2F5449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D3661F0F-62EE-1165-D845-CE47FCCA7293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567D1379-197B-917C-863B-8083CBD50663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4D6A14F3-DE10-70DF-A266-6D3BF1BA6083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28CF2E84-40C0-AEE7-4F97-C583FE65A21F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F2EAA14A-CDE5-9478-F6D0-33556F89377E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8774262C-DE9A-A356-BB4E-CDA827B35EBB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3666DA86-DA34-E8E2-3BC3-EAF174BCECC2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7CB8E99B-CE72-032A-56B8-194A915FCF43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CED76BEF-DB1C-AB0C-9B23-C36AABB6BC49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8E7C5F48-DEBC-7D5F-306F-9CFBF0CF4410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0F84F35B-1491-CD94-57A6-49B4B6D57561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9205C5B2-2B70-F7CE-DAF4-A0CD1A122541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D1438FFE-835A-8109-510A-855BFB152BE1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FA256C72-C2EE-5C20-831D-B7785D4AF669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F963CE50-40BB-1E8F-8305-BA56FF7F6937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FCE9CDCD-B1A6-726F-74E7-FE07C81FE624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1F7B1963-EFF8-9BAE-6106-F19513AB8425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1BFA6A5A-EB0C-C60E-C6C6-909F6F982CD8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46CF87F4-C063-1CCB-D12A-1A8FA823F581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25CFEB9D-E177-232D-0E76-2EEF4C78313B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DA5700FB-911E-671D-34D0-36A0B91A7281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706BE991-AB19-6160-FE20-BE0EE8FE74A5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97E8342A-F1D6-7A3A-7824-58FB53FB29E7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E9B8AFBC-3422-298E-F598-72B63B4AE7CE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7CA5E9D5-6EE4-021C-91A1-0DB19220B69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5A293EDD-8C3E-7B88-CBFC-B4325B77F9AA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74FB9247-A9F5-0AA7-1F26-3C3BF851BB43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1006F9B5-FDC9-D63A-2B11-7770196A7F02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D4263780-2293-434A-E087-364DA8E4E5C6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7C8B269C-0387-3390-C5B7-E0D9E31E214F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ABA4EA7C-33E5-0CDA-1B95-FE2EE12F0DCA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665FB486-A971-4245-50A1-84FE973F0F9F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CE5CA9CD-0572-72A3-7B16-3D6969FB3A6C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2574BEDE-8FFB-5EF0-7B91-53E8A8E70C21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731C7A72-4201-0B1D-B324-8C866401BE31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99B91208-C6B3-DE39-0C9C-8EF14D661DF6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FD38ED68-92CE-20C4-94BE-8D59CC3127F6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031E1ED9-C11B-D079-4B27-3819113C663C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ED49C560-6326-08E4-E81E-46D512C4050A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6E6D38B7-F7C9-36D8-F110-AE7D8FCECAC1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45944176-6994-4AA8-9B81-BCA4E7B440D0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17A56252-8EB5-3F53-F06B-A0F0B7B519E6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4B6832CD-129C-D33A-9551-A450AF4D4EEF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A8982795-5FFE-641C-23FA-BF9862828FD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D78426FC-24DD-33FE-BA07-EAB20CC33A6A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99044E67-5539-6021-EB0D-DA1E4AA51212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ECD3D321-E9B9-10F0-9594-6B43CB7522DD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4D383BED-6144-D74F-032D-F299C2B1D32E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9E797E93-C7FC-CD1E-FC16-208FF64DB9E0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C9C84A22-7E97-9259-A049-A842E6DDE06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2B59FBAE-C99E-EDD3-19CE-9554F45DD40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31C66DE5-D673-59B8-A852-FF53AF7A309D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6EAF7E57-CC6B-A459-C36F-729DADAA3B0D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74148DE7-C520-2CDB-1CD4-C63A66D144DC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A9D7E5FD-A47D-08FC-EFFB-2564432E5014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72550262-840D-9547-B2E1-07306CF81885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FDFA0980-3375-6071-A835-6056013E83F2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E7A0E6E7-CFF1-888B-9102-1336317E675F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EE7C57C1-2C7B-C841-5A84-692324CDAE4A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3DE8CDA1-9AB2-13E2-BBC6-0EB565D58B2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3E5CE3E5-6842-B639-E200-B825DD5D794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A3477551-54CD-E86B-3EBA-8ABA6D7C4662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C41B85CF-3D4A-F269-447F-ACE2606E66E2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FE7AD885-C9D9-CBAC-BE1E-ECC0EFB0305B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D16CDB63-8148-AEDA-DAAF-18A3F9103CDB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84B306B7-D7C4-199F-DE70-64F93EBB6083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A3E09A40-09A5-F412-F159-21B9129FCA53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8B81A74C-5E0A-6A58-E865-9F97848429DC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B60A2A44-6387-F285-1B8A-F3239595DB96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A2D83B39-DAF6-510B-7CF8-E34AB07D911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770D8DA9-8801-57DF-C435-AC7F18F8B3A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D4B65729-1613-F6A4-2A23-9ACAE7A3D79E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A97CAD82-4B69-C076-6EC5-F2DFFC9F1CCA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6CB89FE4-FC69-EFD9-BAC6-121058D58DCF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DD98CD02-6BD2-8A78-A862-F0E6FC46890C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1067E21A-8498-6878-03F9-43A71E7009FB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0FAD631D-BC10-7252-254A-A7402708AF98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C34AFFD6-940C-0C86-32B3-DFC0C0CC4717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1EDA28AC-5D98-CBD2-D1DA-73BD6E40138E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60D820E3-ADA7-F27B-6205-F69A4964C13C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29C661C3-E421-1003-9979-0C33FA5CBB6C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CB2F4FAD-6D37-8528-5E33-7370078D2C85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3141A748-F6DE-E34D-0D61-C5A2EEBAF82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279AD079-95CA-1273-48F2-38286298073D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88535935-5F29-969A-1627-CBCEB658BBEA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FEF7D051-D949-0F2C-19DE-0CBC69479D48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5CB24049-CB13-80A8-9B62-FBB941C01CE9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4427A49A-AA5B-EE90-0DA5-937AE9E89800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6F9B995F-4EF3-AC7F-7AF3-DFCCB24A3E74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C58BE6E5-C6B2-6CF7-11FF-6AC9274C75AC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D723C60F-DEFF-AFFF-DF6C-3954A9C211CC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E23DD12B-B8EC-79C9-0C87-629BEEA883EA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BDDCDE19-BA62-1E12-20D2-46FA6E75352B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CE29773A-1BA4-3975-5A51-7F6650288579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C0FB9755-8D75-2EA1-4FE8-C1854842356A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86A4F28D-45E0-AEBD-506A-503C325CEF32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CD7E788E-D955-B4CF-298E-3111A9A37FDD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169C4180-F8C8-D375-3BA7-939DCA087B9B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EBFF87E9-27F7-A651-905E-0FFD69D0F65B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BCBD6674-A842-27EB-818C-6DE499BED6EA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A5F51CAD-7A7E-022A-0223-AF4732DF35F4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731421C7-0166-A307-532E-AE213597065E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5F0C3C62-240C-351A-D5E9-F27189E1DFC6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2E119A6-03B8-C759-974B-149F7C0F2237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03A6F133-A6F7-AA2D-D214-DF2584A36E6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BC3FFC66-E8F8-2486-8AA5-FFE794C8DFA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878A5461-5D17-4104-765E-BFF69C32ED26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9BA1C90E-E933-C5D7-D310-C1CFE0F3E4BF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496C1795-3D77-42D0-7D39-A3CB51329543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D0B83320-C39A-A91F-7F9D-E3518941C1E3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536C81C8-7598-2BA8-B040-5FD49A348080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6CD9354E-AD19-C542-DA89-2949290C4466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2F123CEB-5243-FDBF-04AD-A1139EDF06A4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75C5137B-F98E-7F19-A579-641DF49F58E9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260B1727-BB7E-AE68-3138-A1D910248C86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3DFF0AAD-7195-129D-3219-254D2C63A1E4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59648BE2-561D-E24E-B10A-1D98FB5076AA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4C7B231B-1FF1-FAAD-9258-E79075B12F58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7C6F5FDF-1178-122B-8B90-DB1F0CE26920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C44FF838-785B-40D8-36AE-6F0DFB0573B4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128A093B-B0D0-F4EA-528C-7EE13B5490B0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00D2D728-3423-DAC4-17AD-F343E1243EA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DAD430CC-EF92-06E1-FB83-7330F2EC9019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3D89F249-7E1A-A892-446E-AAC38CE7752B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8A18CE0E-835F-AA69-0B22-2FC849D24F1A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526B3358-B382-A718-335C-1CF970765276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F291474D-C2BF-825D-24FE-1B12CF941C0C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A8B14483-61DA-9536-DC87-91019AF854F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9F910DD0-5C11-A51D-FE8A-59ADAC4982E7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10376F47-1D52-42E4-CF7A-EAEC5536FBD2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1103BFED-A934-5270-94E8-C3B99F0BBABC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96253214-04CE-A700-23E4-716E83EB6869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869D18D8-4833-C9AD-76AA-549F0A54C7BB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E4FF61A7-7906-060D-02A8-E49B3756BEE7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C01C7EAF-2FF0-1E8D-80B8-338B4B1D25FD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0CCA569A-6B4F-D176-0862-DD944E793560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00D0388B-6B36-E265-52A4-ADB64C55C35A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5D0AE126-4C71-6ACE-87E4-EA903A05F745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0146BD78-762E-1626-03F0-0D9353E349AF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E3128E9D-7150-6B45-C1C0-03866B9EFC29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D8B721C8-2FD1-D448-B593-4843FD8972A5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59F1D258-3472-0FBA-13F7-D78C672207D2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F0274558-5A0E-75BA-9663-D395CB9FD4C9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06194BFC-C3E8-9ACF-DFBF-2DDE915DCAE6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3EB38D3E-0BB6-42F9-6C91-1B0E55525018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D6131AE3-7468-4D08-AFF8-4FEB400C904C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50F6BAC3-EA82-7055-0657-6EE11FE4B16B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7B1D758D-65E3-5536-176E-AF86EE33C3B5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3885265A-0711-41B7-F6F7-31FC96E7DD29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B6959CCF-6D65-8842-240E-F2BCCC92F6E3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A4C72330-BBAB-3364-3C60-6CDA7B457D80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F9F62EC7-34D0-4B3D-34E3-1468D71A55CE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933E4FAE-C961-144A-3143-C030E4762A6C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B574B0DA-F693-FF7B-61E2-32AFF09F564A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5388ED53-EB8D-2A7F-9221-1727C02EC4F9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1529E397-41C6-4F6D-E6A7-88178C1224F7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33B061E4-CE4F-F819-DBC1-3AFA028CFA75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06C24081-EC9B-A044-88D7-F7791D458FF9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C45F88E2-81C1-A394-C44E-3683CF96F16B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F5BC1724-3866-C6D2-D228-D56E03150DAD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349B3F89-F05A-C118-0F70-18BF0D30BB17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5EE7224D-3FEE-17A4-0AA5-DC88DD7FFF2E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2505CF7C-0FF1-0E1E-3284-C848E9504F37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C1F4D8A8-5044-DE24-0B9A-2819DB76947E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189F63C9-94B8-14BC-3B9D-89299DD3C15E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F8B77B4A-0B6B-4118-9CB8-2850C08E13D6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4E8930F8-E76F-B5F5-78A5-C57B2517672C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9B9ED6A3-455B-EF62-0CD3-803C8A4DF601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68043EE1-D954-9A6C-6D3E-50B4AEE072F5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7253109B-6FEC-6581-00CC-61AAE177D354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F7460954-424B-8D6D-AA9A-0F5656839D06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2DB6ADCC-6C40-056E-CE1A-8A04F6FD9644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BD34AB48-416C-E527-9CB4-224994428E4E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D7AF88DE-C4AE-22E6-8AF4-21CB04842E0B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C1BD1DE0-2D09-501A-9AE4-A957ADBAFA22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CE594033-CBAE-F147-487C-DCD40551FB22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7AC31882-1100-B0BB-22BD-1BAFFF140EE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23C80CBA-286D-2DB2-CB39-24A06CF34EBA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076A1DF7-D6D4-D8A9-DBA8-EF538C61B5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AFAE0C26-584C-5782-9603-5C8813B209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4FFCB6BB-C487-869E-BC13-22AAB1D6D76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09D20BFD-D52B-EF74-500F-165C019913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5F0B2FA6-E116-3AF1-851D-89560CDBDB6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9E7D54BD-4A5C-A11C-C45D-900F8A1734A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0F3B782F-FF77-8BDA-3CF8-3B02F405A12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307FA2E7-05DD-FC3F-37D2-B2835ED0137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CD1ACEEC-7061-AB95-54E3-638A975F459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E5E28CE6-4D38-03DF-D3C9-3EAA7A04AD6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528F658A-7200-B700-1E3F-F430F172BC0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7B10206D-443C-B904-053E-2C371A7A23B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253275D5-6666-B458-1984-BBE24137FC8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A60B1CD7-B4E5-8C11-66A7-9ED02B01D28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B927B272-E165-A5CB-97F4-7EC07CA4C0C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18D54291-7399-90EA-D42E-3BB2C07DCDB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F7DC5B9B-4CC0-B68B-39AD-987555522EF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DF4A7D0D-20BA-8AC5-6831-90DD0A76E08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74D27FEB-DD49-EEAA-AA0C-F6726BF002C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5CCB805F-C004-CCBE-3EDA-DCC8EE93F6A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59946827-08C6-4529-25A6-B0866047365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FBF21763-1A10-C8B1-3343-DB297D5F4F5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EA25B16C-B954-44B3-0BDD-07D278E4856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dirty="0"/>
            </a:br>
            <a:r>
              <a:rPr lang="en-GB" dirty="0"/>
              <a:t>Germany</a:t>
            </a:r>
            <a:endParaRPr lang="en-GB" noProof="0" dirty="0"/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10" id="{FCA7B256-1645-4440-A601-1085360D57AB}" vid="{AA457F5F-12CB-415F-8789-7F06B4503874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8:13Z</dcterms:created>
  <dcterms:modified xsi:type="dcterms:W3CDTF">2024-12-10T08:1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